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D$2:$D$224</c:f>
              <c:numCache>
                <c:formatCode>#,##0</c:formatCode>
                <c:ptCount val="223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3</c:v>
                </c:pt>
                <c:pt idx="175">
                  <c:v>697</c:v>
                </c:pt>
                <c:pt idx="176">
                  <c:v>684</c:v>
                </c:pt>
                <c:pt idx="177">
                  <c:v>730</c:v>
                </c:pt>
                <c:pt idx="178">
                  <c:v>722</c:v>
                </c:pt>
                <c:pt idx="179">
                  <c:v>716</c:v>
                </c:pt>
                <c:pt idx="180">
                  <c:v>742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5</c:v>
                </c:pt>
                <c:pt idx="191">
                  <c:v>917</c:v>
                </c:pt>
                <c:pt idx="192">
                  <c:v>930</c:v>
                </c:pt>
                <c:pt idx="193">
                  <c:v>912</c:v>
                </c:pt>
                <c:pt idx="194">
                  <c:v>939</c:v>
                </c:pt>
                <c:pt idx="195">
                  <c:v>943</c:v>
                </c:pt>
                <c:pt idx="196">
                  <c:v>928</c:v>
                </c:pt>
                <c:pt idx="197">
                  <c:v>927</c:v>
                </c:pt>
                <c:pt idx="198">
                  <c:v>954</c:v>
                </c:pt>
                <c:pt idx="199">
                  <c:v>944</c:v>
                </c:pt>
                <c:pt idx="200">
                  <c:v>940</c:v>
                </c:pt>
                <c:pt idx="201">
                  <c:v>935</c:v>
                </c:pt>
                <c:pt idx="202">
                  <c:v>972</c:v>
                </c:pt>
                <c:pt idx="203">
                  <c:v>931</c:v>
                </c:pt>
                <c:pt idx="204">
                  <c:v>922</c:v>
                </c:pt>
                <c:pt idx="207">
                  <c:v>878</c:v>
                </c:pt>
                <c:pt idx="208">
                  <c:v>863</c:v>
                </c:pt>
                <c:pt idx="209">
                  <c:v>866</c:v>
                </c:pt>
                <c:pt idx="210">
                  <c:v>842</c:v>
                </c:pt>
                <c:pt idx="211">
                  <c:v>815</c:v>
                </c:pt>
                <c:pt idx="212">
                  <c:v>794</c:v>
                </c:pt>
                <c:pt idx="213">
                  <c:v>767</c:v>
                </c:pt>
                <c:pt idx="214">
                  <c:v>731</c:v>
                </c:pt>
                <c:pt idx="215">
                  <c:v>720</c:v>
                </c:pt>
                <c:pt idx="216">
                  <c:v>717</c:v>
                </c:pt>
                <c:pt idx="217">
                  <c:v>739</c:v>
                </c:pt>
                <c:pt idx="218">
                  <c:v>713</c:v>
                </c:pt>
                <c:pt idx="219">
                  <c:v>674</c:v>
                </c:pt>
                <c:pt idx="220">
                  <c:v>618</c:v>
                </c:pt>
                <c:pt idx="221">
                  <c:v>594</c:v>
                </c:pt>
                <c:pt idx="222">
                  <c:v>5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5E8-4B5B-8938-FC13A04255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B$2:$B$224</c:f>
              <c:numCache>
                <c:formatCode>#,##0</c:formatCode>
                <c:ptCount val="223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C$2:$C$22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D$2:$D$224</c:f>
              <c:numCache>
                <c:formatCode>#,##0</c:formatCode>
                <c:ptCount val="223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10</c:v>
                </c:pt>
                <c:pt idx="165">
                  <c:v>2474</c:v>
                </c:pt>
                <c:pt idx="166">
                  <c:v>2592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4</c:v>
                </c:pt>
                <c:pt idx="171">
                  <c:v>2681</c:v>
                </c:pt>
                <c:pt idx="172">
                  <c:v>2687</c:v>
                </c:pt>
                <c:pt idx="173">
                  <c:v>2810</c:v>
                </c:pt>
                <c:pt idx="174">
                  <c:v>3003</c:v>
                </c:pt>
                <c:pt idx="175">
                  <c:v>3023</c:v>
                </c:pt>
                <c:pt idx="176">
                  <c:v>3035</c:v>
                </c:pt>
                <c:pt idx="177">
                  <c:v>3048</c:v>
                </c:pt>
                <c:pt idx="178">
                  <c:v>3132</c:v>
                </c:pt>
                <c:pt idx="179">
                  <c:v>3238</c:v>
                </c:pt>
                <c:pt idx="180">
                  <c:v>3380</c:v>
                </c:pt>
                <c:pt idx="181">
                  <c:v>3585</c:v>
                </c:pt>
                <c:pt idx="182">
                  <c:v>3629</c:v>
                </c:pt>
                <c:pt idx="183">
                  <c:v>3604</c:v>
                </c:pt>
                <c:pt idx="184">
                  <c:v>3686</c:v>
                </c:pt>
                <c:pt idx="185">
                  <c:v>3709</c:v>
                </c:pt>
                <c:pt idx="186">
                  <c:v>3791</c:v>
                </c:pt>
                <c:pt idx="187">
                  <c:v>3880</c:v>
                </c:pt>
                <c:pt idx="188">
                  <c:v>3929</c:v>
                </c:pt>
                <c:pt idx="189">
                  <c:v>3945</c:v>
                </c:pt>
                <c:pt idx="190">
                  <c:v>3957</c:v>
                </c:pt>
                <c:pt idx="191">
                  <c:v>3929</c:v>
                </c:pt>
                <c:pt idx="192">
                  <c:v>3864</c:v>
                </c:pt>
                <c:pt idx="193">
                  <c:v>3977</c:v>
                </c:pt>
                <c:pt idx="194">
                  <c:v>4045</c:v>
                </c:pt>
                <c:pt idx="195">
                  <c:v>4194</c:v>
                </c:pt>
                <c:pt idx="196">
                  <c:v>4110</c:v>
                </c:pt>
                <c:pt idx="197">
                  <c:v>4033</c:v>
                </c:pt>
                <c:pt idx="198">
                  <c:v>4007</c:v>
                </c:pt>
                <c:pt idx="199">
                  <c:v>3799</c:v>
                </c:pt>
                <c:pt idx="200">
                  <c:v>3727</c:v>
                </c:pt>
                <c:pt idx="201">
                  <c:v>3807</c:v>
                </c:pt>
                <c:pt idx="202">
                  <c:v>3828</c:v>
                </c:pt>
                <c:pt idx="203">
                  <c:v>3695</c:v>
                </c:pt>
                <c:pt idx="204">
                  <c:v>3550</c:v>
                </c:pt>
                <c:pt idx="207">
                  <c:v>3363</c:v>
                </c:pt>
                <c:pt idx="208">
                  <c:v>3392</c:v>
                </c:pt>
                <c:pt idx="209">
                  <c:v>3361</c:v>
                </c:pt>
                <c:pt idx="210">
                  <c:v>3277</c:v>
                </c:pt>
                <c:pt idx="211">
                  <c:v>3147</c:v>
                </c:pt>
                <c:pt idx="212">
                  <c:v>2998</c:v>
                </c:pt>
                <c:pt idx="213">
                  <c:v>2805</c:v>
                </c:pt>
                <c:pt idx="214">
                  <c:v>2759</c:v>
                </c:pt>
                <c:pt idx="215">
                  <c:v>2821</c:v>
                </c:pt>
                <c:pt idx="216">
                  <c:v>2835</c:v>
                </c:pt>
                <c:pt idx="217">
                  <c:v>3030</c:v>
                </c:pt>
                <c:pt idx="218">
                  <c:v>2852</c:v>
                </c:pt>
                <c:pt idx="219">
                  <c:v>2661</c:v>
                </c:pt>
                <c:pt idx="220">
                  <c:v>2359</c:v>
                </c:pt>
                <c:pt idx="221">
                  <c:v>2281</c:v>
                </c:pt>
                <c:pt idx="222">
                  <c:v>2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2"/>
              <c:layout>
                <c:manualLayout>
                  <c:x val="-8.4504880832907154E-8"/>
                  <c:y val="-2.69434272888123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B84-4329-9A21-ED988DB2BB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B$2:$B$224</c:f>
              <c:numCache>
                <c:formatCode>#,##0</c:formatCode>
                <c:ptCount val="223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C$2:$C$22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D$2:$D$224</c:f>
              <c:numCache>
                <c:formatCode>#,##0</c:formatCode>
                <c:ptCount val="223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6</c:v>
                </c:pt>
                <c:pt idx="169">
                  <c:v>1244</c:v>
                </c:pt>
                <c:pt idx="170">
                  <c:v>1269</c:v>
                </c:pt>
                <c:pt idx="171">
                  <c:v>1272</c:v>
                </c:pt>
                <c:pt idx="172">
                  <c:v>1272</c:v>
                </c:pt>
                <c:pt idx="173">
                  <c:v>1284</c:v>
                </c:pt>
                <c:pt idx="174">
                  <c:v>1366</c:v>
                </c:pt>
                <c:pt idx="175">
                  <c:v>1395</c:v>
                </c:pt>
                <c:pt idx="176">
                  <c:v>1412</c:v>
                </c:pt>
                <c:pt idx="177">
                  <c:v>1465</c:v>
                </c:pt>
                <c:pt idx="178">
                  <c:v>1441</c:v>
                </c:pt>
                <c:pt idx="179">
                  <c:v>1468</c:v>
                </c:pt>
                <c:pt idx="180">
                  <c:v>1505</c:v>
                </c:pt>
                <c:pt idx="181">
                  <c:v>1588</c:v>
                </c:pt>
                <c:pt idx="182">
                  <c:v>1600</c:v>
                </c:pt>
                <c:pt idx="183">
                  <c:v>1626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8</c:v>
                </c:pt>
                <c:pt idx="188">
                  <c:v>1772</c:v>
                </c:pt>
                <c:pt idx="189">
                  <c:v>1801</c:v>
                </c:pt>
                <c:pt idx="190">
                  <c:v>1831</c:v>
                </c:pt>
                <c:pt idx="191">
                  <c:v>1821</c:v>
                </c:pt>
                <c:pt idx="192">
                  <c:v>1836</c:v>
                </c:pt>
                <c:pt idx="193">
                  <c:v>1785</c:v>
                </c:pt>
                <c:pt idx="194">
                  <c:v>1833</c:v>
                </c:pt>
                <c:pt idx="195">
                  <c:v>1891</c:v>
                </c:pt>
                <c:pt idx="196">
                  <c:v>1897</c:v>
                </c:pt>
                <c:pt idx="197">
                  <c:v>1865</c:v>
                </c:pt>
                <c:pt idx="198">
                  <c:v>1864</c:v>
                </c:pt>
                <c:pt idx="199">
                  <c:v>1821</c:v>
                </c:pt>
                <c:pt idx="200">
                  <c:v>1783</c:v>
                </c:pt>
                <c:pt idx="201">
                  <c:v>1807</c:v>
                </c:pt>
                <c:pt idx="202">
                  <c:v>1824</c:v>
                </c:pt>
                <c:pt idx="203">
                  <c:v>1779</c:v>
                </c:pt>
                <c:pt idx="204">
                  <c:v>1746</c:v>
                </c:pt>
                <c:pt idx="207">
                  <c:v>1652</c:v>
                </c:pt>
                <c:pt idx="208">
                  <c:v>1660</c:v>
                </c:pt>
                <c:pt idx="209">
                  <c:v>1668</c:v>
                </c:pt>
                <c:pt idx="210">
                  <c:v>1620</c:v>
                </c:pt>
                <c:pt idx="211">
                  <c:v>1563</c:v>
                </c:pt>
                <c:pt idx="212">
                  <c:v>1517</c:v>
                </c:pt>
                <c:pt idx="213">
                  <c:v>1434</c:v>
                </c:pt>
                <c:pt idx="214">
                  <c:v>1409</c:v>
                </c:pt>
                <c:pt idx="215">
                  <c:v>1388</c:v>
                </c:pt>
                <c:pt idx="216">
                  <c:v>1359</c:v>
                </c:pt>
                <c:pt idx="217">
                  <c:v>1410</c:v>
                </c:pt>
                <c:pt idx="218">
                  <c:v>1386</c:v>
                </c:pt>
                <c:pt idx="219">
                  <c:v>1331</c:v>
                </c:pt>
                <c:pt idx="220">
                  <c:v>1221</c:v>
                </c:pt>
                <c:pt idx="221">
                  <c:v>1207</c:v>
                </c:pt>
                <c:pt idx="222">
                  <c:v>1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E16-4118-B148-CFFE43B9E9E3}"/>
                </c:ext>
              </c:extLst>
            </c:dLbl>
            <c:dLbl>
              <c:idx val="194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E16-4118-B148-CFFE43B9E9E3}"/>
                </c:ext>
              </c:extLst>
            </c:dLbl>
            <c:dLbl>
              <c:idx val="22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E16-4118-B148-CFFE43B9E9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B$2:$B$224</c:f>
              <c:numCache>
                <c:formatCode>#,##0</c:formatCode>
                <c:ptCount val="223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C$2:$C$22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D$2:$D$224</c:f>
              <c:numCache>
                <c:formatCode>#,##0</c:formatCode>
                <c:ptCount val="22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4</c:v>
                </c:pt>
                <c:pt idx="219">
                  <c:v>23</c:v>
                </c:pt>
                <c:pt idx="220">
                  <c:v>23</c:v>
                </c:pt>
                <c:pt idx="221">
                  <c:v>21</c:v>
                </c:pt>
                <c:pt idx="22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D16-47AC-89C7-447B896946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B$2:$B$224</c:f>
              <c:numCache>
                <c:formatCode>#,##0</c:formatCode>
                <c:ptCount val="223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4</c:f>
              <c:numCache>
                <c:formatCode>m/d/yyyy</c:formatCode>
                <c:ptCount val="22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</c:numCache>
            </c:numRef>
          </c:cat>
          <c:val>
            <c:numRef>
              <c:f>Sheet1!$C$2:$C$22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2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2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2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2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848588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59788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80515386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85758665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97825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08999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74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591</cp:revision>
  <dcterms:created xsi:type="dcterms:W3CDTF">2020-08-08T14:25:07Z</dcterms:created>
  <dcterms:modified xsi:type="dcterms:W3CDTF">2021-04-12T03:18:52Z</dcterms:modified>
</cp:coreProperties>
</file>